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95" r:id="rId2"/>
    <p:sldId id="296" r:id="rId3"/>
    <p:sldId id="258" r:id="rId4"/>
    <p:sldId id="297" r:id="rId5"/>
    <p:sldId id="281" r:id="rId6"/>
    <p:sldId id="294" r:id="rId7"/>
    <p:sldId id="256" r:id="rId8"/>
    <p:sldId id="282" r:id="rId9"/>
    <p:sldId id="292" r:id="rId10"/>
    <p:sldId id="283" r:id="rId11"/>
    <p:sldId id="284" r:id="rId12"/>
    <p:sldId id="285" r:id="rId13"/>
    <p:sldId id="286" r:id="rId14"/>
    <p:sldId id="287" r:id="rId15"/>
    <p:sldId id="289" r:id="rId16"/>
    <p:sldId id="265" r:id="rId17"/>
    <p:sldId id="263" r:id="rId18"/>
    <p:sldId id="264" r:id="rId19"/>
  </p:sldIdLst>
  <p:sldSz cx="9144000" cy="6858000" type="screen4x3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009900"/>
    <a:srgbClr val="008000"/>
    <a:srgbClr val="33CC33"/>
    <a:srgbClr val="00CC00"/>
    <a:srgbClr val="339966"/>
    <a:srgbClr val="336600"/>
    <a:srgbClr val="4A7B7C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773" autoAdjust="0"/>
  </p:normalViewPr>
  <p:slideViewPr>
    <p:cSldViewPr>
      <p:cViewPr varScale="1">
        <p:scale>
          <a:sx n="72" d="100"/>
          <a:sy n="72" d="100"/>
        </p:scale>
        <p:origin x="78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4187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8835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plication 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2390586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etwork API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5007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24158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3491827" y="4419733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667959" y="4419733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7020220" y="4419733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24158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844090" y="4419733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843808" y="3102336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20263663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944</Words>
  <Application>Microsoft Office PowerPoint</Application>
  <PresentationFormat>On-screen Show (4:3)</PresentationFormat>
  <Paragraphs>448</Paragraphs>
  <Slides>18</Slides>
  <Notes>15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35</cp:revision>
  <cp:lastPrinted>2017-08-07T13:47:57Z</cp:lastPrinted>
  <dcterms:created xsi:type="dcterms:W3CDTF">2017-08-07T12:37:27Z</dcterms:created>
  <dcterms:modified xsi:type="dcterms:W3CDTF">2019-03-01T04:5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01 04:50:3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